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12"/>
  </p:notesMasterIdLst>
  <p:sldIdLst>
    <p:sldId id="270" r:id="rId2"/>
    <p:sldId id="271" r:id="rId3"/>
    <p:sldId id="360" r:id="rId4"/>
    <p:sldId id="356" r:id="rId5"/>
    <p:sldId id="343" r:id="rId6"/>
    <p:sldId id="358" r:id="rId7"/>
    <p:sldId id="345" r:id="rId8"/>
    <p:sldId id="359" r:id="rId9"/>
    <p:sldId id="346" r:id="rId10"/>
    <p:sldId id="357" r:id="rId11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CACE4"/>
    <a:srgbClr val="E35205"/>
    <a:srgbClr val="00ACED"/>
    <a:srgbClr val="F1C400"/>
    <a:srgbClr val="0030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86"/>
    <p:restoredTop sz="95850" autoAdjust="0"/>
  </p:normalViewPr>
  <p:slideViewPr>
    <p:cSldViewPr snapToGrid="0">
      <p:cViewPr varScale="1">
        <p:scale>
          <a:sx n="105" d="100"/>
          <a:sy n="105" d="100"/>
        </p:scale>
        <p:origin x="86" y="34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FA829-EDA7-9943-8B97-609E7847197B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77105-CBA0-4244-8F4C-292AB8B999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457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LLEGE BRANDING: https://www.seminolestate.edu/crm/logo  |  COLLEGE PHOTOGRAPHY: https://seminolestate.photoshelter.com   |   COLLEGE VIDEOS: https://www.youtube.com/SeminoleStateColle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F9EF3-427B-904E-96C1-8B3FD7FBBA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849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00059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3041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59740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4787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808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326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2756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0CBE67-688C-4973-9FE6-C6D22DF8B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8798467"/>
              </p:ext>
            </p:extLst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0CBE67-688C-4973-9FE6-C6D22DF8B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74498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DF0DA-0912-46C6-A73B-807DE0ADD6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694210"/>
              </p:ext>
            </p:extLst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DF0DA-0912-46C6-A73B-807DE0ADD6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9775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923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1381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865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47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819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5696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436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625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D27551-CA3A-5C42-B847-50C18ADD64CC}" type="datetimeFigureOut">
              <a:rPr lang="en-US" smtClean="0"/>
              <a:t>4/2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A8076B-3BA9-484D-AA4F-0B2171EF6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25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minolestate.edu/crm/logo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seminolestate.photoshelter.com/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C84D3-8069-CF67-4AEC-EA7D4549F7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-1790700"/>
            <a:ext cx="6858000" cy="17907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500" dirty="0"/>
              <a:t>Template Brand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2DFF50-4106-4185-9176-227CB17C6ACA}"/>
              </a:ext>
            </a:extLst>
          </p:cNvPr>
          <p:cNvSpPr txBox="1"/>
          <p:nvPr/>
        </p:nvSpPr>
        <p:spPr>
          <a:xfrm>
            <a:off x="522197" y="595818"/>
            <a:ext cx="24406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ge Brand Colors: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 descr="decorative blue slot">
            <a:extLst>
              <a:ext uri="{FF2B5EF4-FFF2-40B4-BE49-F238E27FC236}">
                <a16:creationId xmlns:a16="http://schemas.microsoft.com/office/drawing/2014/main" id="{1BF16AD7-0A64-411B-A4F5-CD079CF1F40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1008534"/>
            <a:ext cx="275665" cy="672352"/>
          </a:xfrm>
          <a:prstGeom prst="rect">
            <a:avLst/>
          </a:prstGeom>
          <a:solidFill>
            <a:srgbClr val="00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 descr="decorative gold slot">
            <a:extLst>
              <a:ext uri="{FF2B5EF4-FFF2-40B4-BE49-F238E27FC236}">
                <a16:creationId xmlns:a16="http://schemas.microsoft.com/office/drawing/2014/main" id="{6EBF89BC-D482-410D-A85E-FFD237D31D2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5" y="1680885"/>
            <a:ext cx="275665" cy="672352"/>
          </a:xfrm>
          <a:prstGeom prst="rect">
            <a:avLst/>
          </a:prstGeom>
          <a:solidFill>
            <a:srgbClr val="F1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 descr="decorative cyan slot">
            <a:extLst>
              <a:ext uri="{FF2B5EF4-FFF2-40B4-BE49-F238E27FC236}">
                <a16:creationId xmlns:a16="http://schemas.microsoft.com/office/drawing/2014/main" id="{3646E910-9527-46C1-8FA5-481FF264C0E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2353238"/>
            <a:ext cx="275665" cy="672352"/>
          </a:xfrm>
          <a:prstGeom prst="rect">
            <a:avLst/>
          </a:prstGeom>
          <a:solidFill>
            <a:srgbClr val="00AC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 descr="decorative light blue slot">
            <a:extLst>
              <a:ext uri="{FF2B5EF4-FFF2-40B4-BE49-F238E27FC236}">
                <a16:creationId xmlns:a16="http://schemas.microsoft.com/office/drawing/2014/main" id="{F04859DA-9B9E-4A5B-BB46-D70EF5C24E1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1846" y="3027324"/>
            <a:ext cx="275665" cy="672352"/>
          </a:xfrm>
          <a:prstGeom prst="rect">
            <a:avLst/>
          </a:prstGeom>
          <a:solidFill>
            <a:srgbClr val="6CAC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DA005E-6224-4085-BDE8-26F8126B8568}"/>
              </a:ext>
            </a:extLst>
          </p:cNvPr>
          <p:cNvSpPr txBox="1"/>
          <p:nvPr/>
        </p:nvSpPr>
        <p:spPr>
          <a:xfrm>
            <a:off x="1109387" y="1066431"/>
            <a:ext cx="15060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Dark Blue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0, 48, 13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CD8DA4-A6AD-4497-949D-11BE80BA43F3}"/>
              </a:ext>
            </a:extLst>
          </p:cNvPr>
          <p:cNvSpPr txBox="1"/>
          <p:nvPr/>
        </p:nvSpPr>
        <p:spPr>
          <a:xfrm>
            <a:off x="1109387" y="1758955"/>
            <a:ext cx="18534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Bright Gold</a:t>
            </a:r>
            <a:endParaRPr lang="en-US" sz="1400" dirty="0">
              <a:latin typeface="Helvetica" pitchFamily="2" charset="0"/>
            </a:endParaRPr>
          </a:p>
          <a:p>
            <a:r>
              <a:rPr lang="en-US" sz="1400" dirty="0">
                <a:latin typeface="Helvetica" pitchFamily="2" charset="0"/>
              </a:rPr>
              <a:t>RGB: 241, 196, 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FC4ED2-C332-47A0-981C-DD03A1CD04C9}"/>
              </a:ext>
            </a:extLst>
          </p:cNvPr>
          <p:cNvSpPr txBox="1"/>
          <p:nvPr/>
        </p:nvSpPr>
        <p:spPr>
          <a:xfrm>
            <a:off x="1109386" y="2417979"/>
            <a:ext cx="1707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Cyan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0, 172, 237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8202FF2-2FAC-4D7F-B8FA-67C01D43F66A}"/>
              </a:ext>
            </a:extLst>
          </p:cNvPr>
          <p:cNvSpPr txBox="1"/>
          <p:nvPr/>
        </p:nvSpPr>
        <p:spPr>
          <a:xfrm>
            <a:off x="1109386" y="3128397"/>
            <a:ext cx="21467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Light Blue</a:t>
            </a:r>
            <a:br>
              <a:rPr lang="en-US" sz="1400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</a:rPr>
              <a:t>RGB: 108, 172, 22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D600DD-4A53-380F-9CE0-164A7ACF91E1}"/>
              </a:ext>
            </a:extLst>
          </p:cNvPr>
          <p:cNvSpPr txBox="1"/>
          <p:nvPr/>
        </p:nvSpPr>
        <p:spPr>
          <a:xfrm>
            <a:off x="3422295" y="565122"/>
            <a:ext cx="52880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Helvetica" pitchFamily="2" charset="0"/>
              </a:rPr>
              <a:t>This PowerPoint is intended as a template. Please revise as needed for your presentation: update words and images, move elements, delete unused pages, etc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EA09F6-EC3C-4137-B576-D540ACCA084E}"/>
              </a:ext>
            </a:extLst>
          </p:cNvPr>
          <p:cNvSpPr txBox="1"/>
          <p:nvPr/>
        </p:nvSpPr>
        <p:spPr>
          <a:xfrm>
            <a:off x="3422295" y="2115441"/>
            <a:ext cx="22949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ding Resources: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3AB5ED-5442-4682-A29C-C1B372A74FA2}"/>
              </a:ext>
            </a:extLst>
          </p:cNvPr>
          <p:cNvSpPr txBox="1"/>
          <p:nvPr/>
        </p:nvSpPr>
        <p:spPr>
          <a:xfrm>
            <a:off x="3422295" y="2506863"/>
            <a:ext cx="4515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College Brand Guidelines</a:t>
            </a:r>
            <a:br>
              <a:rPr lang="en-US" sz="1400" b="1" dirty="0">
                <a:latin typeface="Helvetica" pitchFamily="2" charset="0"/>
              </a:rPr>
            </a:br>
            <a:r>
              <a:rPr lang="en-US" sz="1400" dirty="0">
                <a:latin typeface="Helvetica" pitchFamily="2" charset="0"/>
                <a:hlinkClick r:id="rId3"/>
              </a:rPr>
              <a:t>https://www.seminolestate.edu/crm/logo</a:t>
            </a:r>
            <a:endParaRPr lang="en-US" sz="1400" dirty="0">
              <a:latin typeface="Helvetica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7D8008-C7DB-4FEE-9005-2A9D6D797944}"/>
              </a:ext>
            </a:extLst>
          </p:cNvPr>
          <p:cNvSpPr txBox="1"/>
          <p:nvPr/>
        </p:nvSpPr>
        <p:spPr>
          <a:xfrm>
            <a:off x="3422295" y="3109672"/>
            <a:ext cx="46125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Helvetica" pitchFamily="2" charset="0"/>
              </a:rPr>
              <a:t>Update Images with College Photography</a:t>
            </a:r>
          </a:p>
          <a:p>
            <a:r>
              <a:rPr lang="en-US" sz="1400" dirty="0">
                <a:latin typeface="Helvetica" pitchFamily="2" charset="0"/>
                <a:hlinkClick r:id="rId4"/>
              </a:rPr>
              <a:t>https://seminolestate.photoshelter.com</a:t>
            </a:r>
            <a:endParaRPr lang="en-US" sz="140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43619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9527845-3A1C-2879-BD8C-B61C57758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-994172"/>
            <a:ext cx="7886700" cy="99417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500" dirty="0"/>
              <a:t>End of slide show</a:t>
            </a:r>
          </a:p>
        </p:txBody>
      </p:sp>
      <p:sp>
        <p:nvSpPr>
          <p:cNvPr id="2" name="Rectangle 1" descr="decorative solid">
            <a:extLst>
              <a:ext uri="{FF2B5EF4-FFF2-40B4-BE49-F238E27FC236}">
                <a16:creationId xmlns:a16="http://schemas.microsoft.com/office/drawing/2014/main" id="{D35005EC-BCA0-5F58-A7A2-0E3A44A5C58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308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Seminole State College of Florida logo">
            <a:extLst>
              <a:ext uri="{FF2B5EF4-FFF2-40B4-BE49-F238E27FC236}">
                <a16:creationId xmlns:a16="http://schemas.microsoft.com/office/drawing/2014/main" id="{474FBCB2-30A6-BE83-E9F2-54ABF8C153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985" y="2037066"/>
            <a:ext cx="2226029" cy="1069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8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East entrance student center building with Seminole State College signage&#10;&#10;">
            <a:extLst>
              <a:ext uri="{FF2B5EF4-FFF2-40B4-BE49-F238E27FC236}">
                <a16:creationId xmlns:a16="http://schemas.microsoft.com/office/drawing/2014/main" id="{4D5825D8-E057-4D09-962D-2F0501FBF12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" t="4144" r="18" b="13141"/>
          <a:stretch/>
        </p:blipFill>
        <p:spPr>
          <a:xfrm>
            <a:off x="-1683" y="393"/>
            <a:ext cx="9143999" cy="5140822"/>
          </a:xfrm>
          <a:prstGeom prst="rect">
            <a:avLst/>
          </a:prstGeom>
        </p:spPr>
      </p:pic>
      <p:sp>
        <p:nvSpPr>
          <p:cNvPr id="20" name="Rectangle 19" descr="decorative box">
            <a:extLst>
              <a:ext uri="{FF2B5EF4-FFF2-40B4-BE49-F238E27FC236}">
                <a16:creationId xmlns:a16="http://schemas.microsoft.com/office/drawing/2014/main" id="{F3922AD5-958B-7B91-AE7F-D52FC9354F1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" y="1340"/>
            <a:ext cx="9143999" cy="1828501"/>
          </a:xfrm>
          <a:prstGeom prst="rect">
            <a:avLst/>
          </a:prstGeom>
          <a:solidFill>
            <a:srgbClr val="003087">
              <a:alpha val="7568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 dirty="0"/>
          </a:p>
        </p:txBody>
      </p:sp>
      <p:sp>
        <p:nvSpPr>
          <p:cNvPr id="23" name="object 4">
            <a:extLst>
              <a:ext uri="{FF2B5EF4-FFF2-40B4-BE49-F238E27FC236}">
                <a16:creationId xmlns:a16="http://schemas.microsoft.com/office/drawing/2014/main" id="{E384E91A-3464-9C7F-8167-89C741A84BD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11081" y="533292"/>
            <a:ext cx="4179201" cy="58836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498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Presentation Title</a:t>
            </a:r>
          </a:p>
        </p:txBody>
      </p:sp>
      <p:sp>
        <p:nvSpPr>
          <p:cNvPr id="24" name="object 4">
            <a:extLst>
              <a:ext uri="{FF2B5EF4-FFF2-40B4-BE49-F238E27FC236}">
                <a16:creationId xmlns:a16="http://schemas.microsoft.com/office/drawing/2014/main" id="{7A9B0B96-8763-6D17-5CCC-744558E752AC}"/>
              </a:ext>
            </a:extLst>
          </p:cNvPr>
          <p:cNvSpPr txBox="1">
            <a:spLocks/>
          </p:cNvSpPr>
          <p:nvPr/>
        </p:nvSpPr>
        <p:spPr>
          <a:xfrm>
            <a:off x="626787" y="1121610"/>
            <a:ext cx="3211662" cy="266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n-IN" sz="2000" dirty="0">
                <a:latin typeface="Helvetica" pitchFamily="2" charset="0"/>
              </a:rPr>
              <a:t>Subtitle</a:t>
            </a:r>
          </a:p>
        </p:txBody>
      </p:sp>
      <p:pic>
        <p:nvPicPr>
          <p:cNvPr id="22" name="Picture 21" descr="Seminole State College of Florida logo">
            <a:extLst>
              <a:ext uri="{FF2B5EF4-FFF2-40B4-BE49-F238E27FC236}">
                <a16:creationId xmlns:a16="http://schemas.microsoft.com/office/drawing/2014/main" id="{BB0C9C46-6F47-DA74-CD3A-952AABC074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299" y="552857"/>
            <a:ext cx="1510156" cy="725467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2CF9C2F-D19C-5350-2FC6-13D825FF59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8342" r="18342"/>
          <a:stretch/>
        </p:blipFill>
        <p:spPr>
          <a:xfrm>
            <a:off x="1" y="2009"/>
            <a:ext cx="2170569" cy="5140822"/>
          </a:xfrm>
          <a:prstGeom prst="rect">
            <a:avLst/>
          </a:prstGeom>
        </p:spPr>
      </p:pic>
      <p:sp>
        <p:nvSpPr>
          <p:cNvPr id="4" name="object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747655" y="608013"/>
            <a:ext cx="6307137" cy="41433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998" b="1" i="0" u="none" strike="noStrike" kern="1200" cap="none" spc="0" normalizeH="0" baseline="0" noProof="0" dirty="0">
                <a:ln>
                  <a:noFill/>
                </a:ln>
                <a:solidFill>
                  <a:srgbClr val="003087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Agenda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78506CA-6181-4DD8-AF84-3569CB02B7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2638128" y="1246188"/>
            <a:ext cx="5137150" cy="2690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  <a:p>
            <a:pPr>
              <a:spcBef>
                <a:spcPts val="0"/>
              </a:spcBef>
              <a:spcAft>
                <a:spcPts val="1349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Xxxx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</p:txBody>
      </p:sp>
      <p:sp>
        <p:nvSpPr>
          <p:cNvPr id="13" name="Subtitle 15">
            <a:extLst>
              <a:ext uri="{FF2B5EF4-FFF2-40B4-BE49-F238E27FC236}">
                <a16:creationId xmlns:a16="http://schemas.microsoft.com/office/drawing/2014/main" id="{57BB5316-08DD-9EBD-DF60-CB524F2E34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2720969" y="4811097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231345-755A-286B-E250-6C199A001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8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8555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 one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  <a:cs typeface="Arial"/>
              </a:rPr>
              <a:t>Information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5643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eminole State Advisor helping two students with their paperwork at the Oviedo campus. ">
            <a:extLst>
              <a:ext uri="{FF2B5EF4-FFF2-40B4-BE49-F238E27FC236}">
                <a16:creationId xmlns:a16="http://schemas.microsoft.com/office/drawing/2014/main" id="{558FDE1A-1FEE-4B56-E758-791EE06E774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03" t="3032" b="15422"/>
          <a:stretch/>
        </p:blipFill>
        <p:spPr>
          <a:xfrm>
            <a:off x="2" y="1340"/>
            <a:ext cx="9143999" cy="5140822"/>
          </a:xfrm>
          <a:prstGeom prst="rect">
            <a:avLst/>
          </a:prstGeom>
        </p:spPr>
      </p:pic>
      <p:sp>
        <p:nvSpPr>
          <p:cNvPr id="6" name="Rectangle 5" descr="decorative box">
            <a:extLst>
              <a:ext uri="{FF2B5EF4-FFF2-40B4-BE49-F238E27FC236}">
                <a16:creationId xmlns:a16="http://schemas.microsoft.com/office/drawing/2014/main" id="{6D3BD269-237B-0B2D-E050-D6110E7FA5D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460506"/>
            <a:ext cx="9143999" cy="689198"/>
          </a:xfrm>
          <a:prstGeom prst="rect">
            <a:avLst/>
          </a:prstGeom>
          <a:solidFill>
            <a:srgbClr val="F1C400">
              <a:alpha val="7529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28925CF0-C81F-95F4-B4C1-9EDDF90083C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633473"/>
            <a:ext cx="502634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at Top</a:t>
            </a:r>
          </a:p>
        </p:txBody>
      </p:sp>
      <p:pic>
        <p:nvPicPr>
          <p:cNvPr id="8" name="Picture 7" descr="Seminole State College of Florida logo">
            <a:extLst>
              <a:ext uri="{FF2B5EF4-FFF2-40B4-BE49-F238E27FC236}">
                <a16:creationId xmlns:a16="http://schemas.microsoft.com/office/drawing/2014/main" id="{1E59EBAF-C911-D0BE-2995-05D8A6B15D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593765"/>
            <a:ext cx="901657" cy="43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444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  <a:cs typeface="Arial"/>
              </a:rPr>
              <a:t>Information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896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Seminole State student with a professor in a simulation class studying human respitory.  ">
            <a:extLst>
              <a:ext uri="{FF2B5EF4-FFF2-40B4-BE49-F238E27FC236}">
                <a16:creationId xmlns:a16="http://schemas.microsoft.com/office/drawing/2014/main" id="{4D5825D8-E057-4D09-962D-2F0501FBF12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818" b="7818"/>
          <a:stretch/>
        </p:blipFill>
        <p:spPr>
          <a:xfrm>
            <a:off x="2" y="1340"/>
            <a:ext cx="9143999" cy="5140822"/>
          </a:xfrm>
          <a:prstGeom prst="rect">
            <a:avLst/>
          </a:prstGeom>
        </p:spPr>
      </p:pic>
      <p:sp>
        <p:nvSpPr>
          <p:cNvPr id="3" name="Rectangle 2" descr="Decorative box">
            <a:extLst>
              <a:ext uri="{FF2B5EF4-FFF2-40B4-BE49-F238E27FC236}">
                <a16:creationId xmlns:a16="http://schemas.microsoft.com/office/drawing/2014/main" id="{CAD73991-9B48-5C9A-505C-E00081DA2FF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3993796"/>
            <a:ext cx="9143999" cy="689198"/>
          </a:xfrm>
          <a:prstGeom prst="rect">
            <a:avLst/>
          </a:prstGeom>
          <a:solidFill>
            <a:srgbClr val="00ACED">
              <a:alpha val="7529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 dirty="0"/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C43CAD44-042A-3D38-B7D5-C7F23CD7732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4176190"/>
            <a:ext cx="609905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on Bottom</a:t>
            </a:r>
          </a:p>
        </p:txBody>
      </p:sp>
      <p:pic>
        <p:nvPicPr>
          <p:cNvPr id="6" name="Picture 5" descr="Seminole State College of Florida logo">
            <a:extLst>
              <a:ext uri="{FF2B5EF4-FFF2-40B4-BE49-F238E27FC236}">
                <a16:creationId xmlns:a16="http://schemas.microsoft.com/office/drawing/2014/main" id="{5CDED26E-91ED-3B98-79F2-28E4081D1C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4127055"/>
            <a:ext cx="901657" cy="43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302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57200" y="409669"/>
            <a:ext cx="6307028" cy="4152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IN" sz="2998" b="1" dirty="0">
                <a:solidFill>
                  <a:srgbClr val="003087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ader two</a:t>
            </a:r>
          </a:p>
        </p:txBody>
      </p:sp>
      <p:sp>
        <p:nvSpPr>
          <p:cNvPr id="8" name="Line 10" descr="decorative line">
            <a:extLst>
              <a:ext uri="{FF2B5EF4-FFF2-40B4-BE49-F238E27FC236}">
                <a16:creationId xmlns:a16="http://schemas.microsoft.com/office/drawing/2014/main" id="{3BD342ED-C5C1-9887-A162-8707F59BFF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" y="845660"/>
            <a:ext cx="8144933" cy="52232"/>
          </a:xfrm>
          <a:prstGeom prst="line">
            <a:avLst/>
          </a:prstGeom>
          <a:noFill/>
          <a:ln w="19050">
            <a:solidFill>
              <a:srgbClr val="F1C4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dirty="0">
              <a:solidFill>
                <a:schemeClr val="bg1"/>
              </a:solidFill>
            </a:endParaRPr>
          </a:p>
        </p:txBody>
      </p:sp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13E0393-DFDA-6D7A-346A-387CB5CCB610}"/>
              </a:ext>
            </a:extLst>
          </p:cNvPr>
          <p:cNvSpPr txBox="1">
            <a:spLocks/>
          </p:cNvSpPr>
          <p:nvPr/>
        </p:nvSpPr>
        <p:spPr>
          <a:xfrm>
            <a:off x="824846" y="1228780"/>
            <a:ext cx="7777288" cy="3477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0">
              <a:lnSpc>
                <a:spcPct val="120000"/>
              </a:lnSpc>
              <a:spcBef>
                <a:spcPts val="450"/>
              </a:spcBef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  <a:cs typeface="Arial"/>
              </a:rPr>
              <a:t>Information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Helvetica" pitchFamily="2" charset="0"/>
            </a:endParaRPr>
          </a:p>
        </p:txBody>
      </p:sp>
      <p:sp>
        <p:nvSpPr>
          <p:cNvPr id="9" name="Subtitle 15">
            <a:extLst>
              <a:ext uri="{FF2B5EF4-FFF2-40B4-BE49-F238E27FC236}">
                <a16:creationId xmlns:a16="http://schemas.microsoft.com/office/drawing/2014/main" id="{47EFB83A-D02F-4606-B095-B54A5CBAFA08}"/>
              </a:ext>
            </a:extLst>
          </p:cNvPr>
          <p:cNvSpPr txBox="1">
            <a:spLocks/>
          </p:cNvSpPr>
          <p:nvPr/>
        </p:nvSpPr>
        <p:spPr>
          <a:xfrm>
            <a:off x="457200" y="4812671"/>
            <a:ext cx="382530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b="1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Presentation Title </a:t>
            </a:r>
            <a:r>
              <a:rPr lang="en-I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" pitchFamily="2" charset="0"/>
              </a:rPr>
              <a:t>| Subtitle</a:t>
            </a:r>
          </a:p>
        </p:txBody>
      </p:sp>
      <p:pic>
        <p:nvPicPr>
          <p:cNvPr id="7" name="Picture 6" descr="Seminole State College of Florida logo">
            <a:extLst>
              <a:ext uri="{FF2B5EF4-FFF2-40B4-BE49-F238E27FC236}">
                <a16:creationId xmlns:a16="http://schemas.microsoft.com/office/drawing/2014/main" id="{9E927A87-5D25-B525-B74F-0598701A5C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957" y="4466419"/>
            <a:ext cx="901657" cy="433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102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Seminole State students walking around the front entrance of B building on Sanford/Lake Mary campus. ">
            <a:extLst>
              <a:ext uri="{FF2B5EF4-FFF2-40B4-BE49-F238E27FC236}">
                <a16:creationId xmlns:a16="http://schemas.microsoft.com/office/drawing/2014/main" id="{4D5825D8-E057-4D09-962D-2F0501FBF12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827" b="7827"/>
          <a:stretch/>
        </p:blipFill>
        <p:spPr>
          <a:xfrm>
            <a:off x="2" y="1340"/>
            <a:ext cx="9143999" cy="5140822"/>
          </a:xfrm>
          <a:prstGeom prst="rect">
            <a:avLst/>
          </a:prstGeom>
        </p:spPr>
      </p:pic>
      <p:sp>
        <p:nvSpPr>
          <p:cNvPr id="3" name="Rectangle 2" descr="decorative box">
            <a:extLst>
              <a:ext uri="{FF2B5EF4-FFF2-40B4-BE49-F238E27FC236}">
                <a16:creationId xmlns:a16="http://schemas.microsoft.com/office/drawing/2014/main" id="{053E9F87-4D02-A7DC-1CA3-3E4C9B19CF0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-1" y="460506"/>
            <a:ext cx="9143999" cy="689198"/>
          </a:xfrm>
          <a:prstGeom prst="rect">
            <a:avLst/>
          </a:prstGeom>
          <a:solidFill>
            <a:srgbClr val="6CACE4">
              <a:alpha val="7529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1"/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2B39BF84-3881-2E6E-6D1E-742053E8FD0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05441" y="633473"/>
            <a:ext cx="5026344" cy="3924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Section Title at Top one</a:t>
            </a:r>
          </a:p>
        </p:txBody>
      </p:sp>
      <p:pic>
        <p:nvPicPr>
          <p:cNvPr id="6" name="Picture 5" descr="Seminole State College of Florida logo">
            <a:extLst>
              <a:ext uri="{FF2B5EF4-FFF2-40B4-BE49-F238E27FC236}">
                <a16:creationId xmlns:a16="http://schemas.microsoft.com/office/drawing/2014/main" id="{1B4142E0-0A83-1090-6986-BBBEEE243A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958" y="593765"/>
            <a:ext cx="901657" cy="43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055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222</TotalTime>
  <Words>195</Words>
  <Application>Microsoft Office PowerPoint</Application>
  <PresentationFormat>On-screen Show (16:9)</PresentationFormat>
  <Paragraphs>38</Paragraphs>
  <Slides>10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Arial Narrow</vt:lpstr>
      <vt:lpstr>Calibri</vt:lpstr>
      <vt:lpstr>Calibri Light</vt:lpstr>
      <vt:lpstr>Helvetica</vt:lpstr>
      <vt:lpstr>Office Theme</vt:lpstr>
      <vt:lpstr>think-cell Slide</vt:lpstr>
      <vt:lpstr>Template Branding</vt:lpstr>
      <vt:lpstr>Presentation Title</vt:lpstr>
      <vt:lpstr>Agenda</vt:lpstr>
      <vt:lpstr>Header one</vt:lpstr>
      <vt:lpstr>Section Title at Top</vt:lpstr>
      <vt:lpstr>Header</vt:lpstr>
      <vt:lpstr>Section Title on Bottom</vt:lpstr>
      <vt:lpstr>Header two</vt:lpstr>
      <vt:lpstr>Section Title at Top one</vt:lpstr>
      <vt:lpstr>End of slide sho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llian Baco</dc:creator>
  <cp:lastModifiedBy>Alyson Linder</cp:lastModifiedBy>
  <cp:revision>19</cp:revision>
  <dcterms:created xsi:type="dcterms:W3CDTF">2024-03-25T18:15:56Z</dcterms:created>
  <dcterms:modified xsi:type="dcterms:W3CDTF">2026-04-21T13:04:44Z</dcterms:modified>
</cp:coreProperties>
</file>